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52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sldIdLst>
    <p:sldId id="350" r:id="rId2"/>
    <p:sldId id="354" r:id="rId3"/>
    <p:sldId id="383" r:id="rId4"/>
    <p:sldId id="384" r:id="rId5"/>
    <p:sldId id="385" r:id="rId6"/>
    <p:sldId id="386" r:id="rId7"/>
    <p:sldId id="387" r:id="rId8"/>
    <p:sldId id="388" r:id="rId9"/>
    <p:sldId id="390" r:id="rId10"/>
    <p:sldId id="389" r:id="rId11"/>
    <p:sldId id="391" r:id="rId12"/>
    <p:sldId id="381" r:id="rId13"/>
    <p:sldId id="382" r:id="rId14"/>
  </p:sldIdLst>
  <p:sldSz cx="9144000" cy="6858000" type="screen4x3"/>
  <p:notesSz cx="7099300" cy="10234613"/>
  <p:custShowLst>
    <p:custShow name="ITK_Kurzpräsentation" id="0">
      <p:sldLst/>
    </p:custShow>
  </p:custShowLst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uidw1169" initials="u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A74"/>
    <a:srgbClr val="BFCA00"/>
    <a:srgbClr val="5D6A70"/>
    <a:srgbClr val="004689"/>
    <a:srgbClr val="FFFF66"/>
    <a:srgbClr val="69768D"/>
    <a:srgbClr val="004F9E"/>
    <a:srgbClr val="D0E509"/>
    <a:srgbClr val="FFFF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45" autoAdjust="0"/>
    <p:restoredTop sz="92060" autoAdjust="0"/>
  </p:normalViewPr>
  <p:slideViewPr>
    <p:cSldViewPr snapToObjects="1" showGuides="1">
      <p:cViewPr varScale="1">
        <p:scale>
          <a:sx n="122" d="100"/>
          <a:sy n="122" d="100"/>
        </p:scale>
        <p:origin x="-1500" y="-96"/>
      </p:cViewPr>
      <p:guideLst>
        <p:guide orient="horz" pos="2296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64" d="100"/>
          <a:sy n="64" d="100"/>
        </p:scale>
        <p:origin x="-3144" y="-82"/>
      </p:cViewPr>
      <p:guideLst>
        <p:guide orient="horz" pos="3224"/>
        <p:guide pos="2236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32CA89A1-5082-4467-8001-24353D28EF26}" type="datetimeFigureOut">
              <a:rPr lang="de-DE" smtClean="0"/>
              <a:pPr/>
              <a:t>17.11.20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861442"/>
            <a:ext cx="5679440" cy="4605576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5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495B5C4E-9208-4370-974D-1A8C76E2A8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1860430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3691940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3691940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369194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3691940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369194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B5C4E-9208-4370-974D-1A8C76E2A813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369194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M:\090_Bilder\Fotolia_Bilder\Fotolia_41393042_L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-88"/>
          <a:stretch/>
        </p:blipFill>
        <p:spPr bwMode="auto">
          <a:xfrm>
            <a:off x="-18210" y="3480691"/>
            <a:ext cx="9162209" cy="3404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67544" y="418908"/>
            <a:ext cx="1334267" cy="1157119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1801811" y="1772816"/>
            <a:ext cx="7342189" cy="1707874"/>
          </a:xfrm>
          <a:prstGeom prst="rect">
            <a:avLst/>
          </a:prstGeom>
          <a:solidFill>
            <a:srgbClr val="6976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/>
        </p:nvSpPr>
        <p:spPr>
          <a:xfrm>
            <a:off x="1801811" y="3480690"/>
            <a:ext cx="7342189" cy="1152127"/>
          </a:xfrm>
          <a:prstGeom prst="rect">
            <a:avLst/>
          </a:prstGeom>
          <a:solidFill>
            <a:srgbClr val="FFFFFF">
              <a:alpha val="78824"/>
            </a:srgbClr>
          </a:solidFill>
          <a:ln>
            <a:noFill/>
          </a:ln>
          <a:effectLst>
            <a:glow rad="228600">
              <a:schemeClr val="bg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Titel 24"/>
          <p:cNvSpPr>
            <a:spLocks noGrp="1"/>
          </p:cNvSpPr>
          <p:nvPr>
            <p:ph type="title"/>
          </p:nvPr>
        </p:nvSpPr>
        <p:spPr>
          <a:xfrm>
            <a:off x="2051720" y="1964750"/>
            <a:ext cx="6696744" cy="1143000"/>
          </a:xfrm>
        </p:spPr>
        <p:txBody>
          <a:bodyPr>
            <a:normAutofit/>
          </a:bodyPr>
          <a:lstStyle>
            <a:lvl1pPr marL="0" indent="0" algn="l">
              <a:buFont typeface="Arial" pitchFamily="34" charset="0"/>
              <a:buNone/>
              <a:defRPr lang="de-DE" sz="4400" kern="1200" dirty="0" smtClean="0">
                <a:solidFill>
                  <a:schemeClr val="bg1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6" name="Textplatzhalter 2"/>
          <p:cNvSpPr>
            <a:spLocks noGrp="1"/>
          </p:cNvSpPr>
          <p:nvPr>
            <p:ph type="body" idx="1"/>
          </p:nvPr>
        </p:nvSpPr>
        <p:spPr>
          <a:xfrm>
            <a:off x="2051720" y="3490850"/>
            <a:ext cx="6696744" cy="1152126"/>
          </a:xfrm>
        </p:spPr>
        <p:txBody>
          <a:bodyPr anchor="ctr" anchorCtr="0">
            <a:normAutofit/>
          </a:bodyPr>
          <a:lstStyle>
            <a:lvl1pPr marL="0" indent="0">
              <a:buNone/>
              <a:defRPr lang="de-DE" sz="3200" kern="1200" dirty="0" smtClean="0">
                <a:solidFill>
                  <a:srgbClr val="5D6A7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925866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119F4A-BAD4-4F23-8EE9-AD70B32E748E}" type="datetime4">
              <a:rPr lang="en-US" smtClean="0"/>
              <a:pPr/>
              <a:t>November 17, 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577220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6"/>
          <p:cNvSpPr>
            <a:spLocks noChangeArrowheads="1"/>
          </p:cNvSpPr>
          <p:nvPr/>
        </p:nvSpPr>
        <p:spPr bwMode="auto">
          <a:xfrm>
            <a:off x="395288" y="836613"/>
            <a:ext cx="8301037" cy="144462"/>
          </a:xfrm>
          <a:prstGeom prst="rect">
            <a:avLst/>
          </a:prstGeom>
          <a:solidFill>
            <a:srgbClr val="173C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5" name="Picture 27" descr="ITK_Logo_HKS_42_92_3cm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85788" y="176213"/>
            <a:ext cx="852487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8" descr="Schienenfahrzeug_mod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38971"/>
          <a:stretch>
            <a:fillRect/>
          </a:stretch>
        </p:blipFill>
        <p:spPr bwMode="auto">
          <a:xfrm>
            <a:off x="6370638" y="377825"/>
            <a:ext cx="514350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9" descr="Bildleiste_Block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2435"/>
          <a:stretch>
            <a:fillRect/>
          </a:stretch>
        </p:blipFill>
        <p:spPr bwMode="auto">
          <a:xfrm>
            <a:off x="3059113" y="377825"/>
            <a:ext cx="3313112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0" descr="Eurofighter_mod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3202" t="14873" r="17401"/>
          <a:stretch>
            <a:fillRect/>
          </a:stretch>
        </p:blipFill>
        <p:spPr bwMode="auto">
          <a:xfrm>
            <a:off x="6864350" y="377825"/>
            <a:ext cx="663575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1" descr="Bildleiste_Block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77573" r="10968"/>
          <a:stretch>
            <a:fillRect/>
          </a:stretch>
        </p:blipFill>
        <p:spPr bwMode="auto">
          <a:xfrm>
            <a:off x="7513638" y="377825"/>
            <a:ext cx="492125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2" descr="Bildleiste_Block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89140"/>
          <a:stretch>
            <a:fillRect/>
          </a:stretch>
        </p:blipFill>
        <p:spPr bwMode="auto">
          <a:xfrm>
            <a:off x="7999413" y="377825"/>
            <a:ext cx="463550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40"/>
          <p:cNvSpPr>
            <a:spLocks noChangeArrowheads="1"/>
          </p:cNvSpPr>
          <p:nvPr/>
        </p:nvSpPr>
        <p:spPr bwMode="auto">
          <a:xfrm>
            <a:off x="395288" y="6642100"/>
            <a:ext cx="8301037" cy="144463"/>
          </a:xfrm>
          <a:prstGeom prst="rect">
            <a:avLst/>
          </a:prstGeom>
          <a:solidFill>
            <a:srgbClr val="173C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12" name="Picture 55" descr="Blase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614863" y="755650"/>
            <a:ext cx="306387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6" descr="Blase"/>
          <p:cNvPicPr preferRelativeResize="0">
            <a:picLocks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003800" y="758825"/>
            <a:ext cx="37782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7" descr="Blase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854950" y="760413"/>
            <a:ext cx="306388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58" descr="Blase"/>
          <p:cNvPicPr preferRelativeResize="0">
            <a:picLocks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243888" y="755650"/>
            <a:ext cx="37782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59" descr="Blase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732588" y="758825"/>
            <a:ext cx="306387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60" descr="Blase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871788" y="755650"/>
            <a:ext cx="306387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 wrap="square"/>
          <a:lstStyle>
            <a:lvl1pPr algn="ctr">
              <a:defRPr sz="390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18" name="Rectangle 4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B57C64-30F7-42FB-8CF6-E5D75DE511EA}" type="datetime4">
              <a:rPr lang="en-US" smtClean="0"/>
              <a:pPr>
                <a:defRPr/>
              </a:pPr>
              <a:t>November 17, 2014</a:t>
            </a:fld>
            <a:endParaRPr lang="de-DE"/>
          </a:p>
        </p:txBody>
      </p:sp>
      <p:sp>
        <p:nvSpPr>
          <p:cNvPr id="19" name="Rectangle 5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© ITK Engineering</a:t>
            </a:r>
            <a:endParaRPr lang="en-GB"/>
          </a:p>
        </p:txBody>
      </p:sp>
      <p:sp>
        <p:nvSpPr>
          <p:cNvPr id="20" name="Rectangle 5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432243-7049-4D39-B204-B3D52CA65DE0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46220205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31A801-C323-46C5-928F-78980C82E2A5}" type="datetime4">
              <a:rPr lang="en-US" smtClean="0"/>
              <a:pPr>
                <a:defRPr/>
              </a:pPr>
              <a:t>November 17, 2014</a:t>
            </a:fld>
            <a:endParaRPr lang="de-DE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© ITK Engineering</a:t>
            </a:r>
            <a:endParaRPr lang="en-GB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307289-A014-460A-8952-90124891339C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37369137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2600" y="1146175"/>
            <a:ext cx="8229600" cy="70643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482600" y="1960563"/>
            <a:ext cx="4038600" cy="217011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82600" y="4283075"/>
            <a:ext cx="4038600" cy="217011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half" idx="3"/>
          </p:nvPr>
        </p:nvSpPr>
        <p:spPr>
          <a:xfrm>
            <a:off x="4673600" y="1960563"/>
            <a:ext cx="4038600" cy="449262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Rectangle 4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442B1F-F92B-4040-8F06-B5352DBA37B3}" type="datetime4">
              <a:rPr lang="en-US" smtClean="0"/>
              <a:pPr>
                <a:defRPr/>
              </a:pPr>
              <a:t>November 17, 2014</a:t>
            </a:fld>
            <a:endParaRPr lang="de-DE"/>
          </a:p>
        </p:txBody>
      </p:sp>
      <p:sp>
        <p:nvSpPr>
          <p:cNvPr id="7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© ITK Engineering</a:t>
            </a:r>
            <a:endParaRPr lang="en-GB"/>
          </a:p>
        </p:txBody>
      </p:sp>
      <p:sp>
        <p:nvSpPr>
          <p:cNvPr id="8" name="Rectangle 4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752C7C-A00D-4046-BF04-B2CB611D1D68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23181280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2600" y="1146175"/>
            <a:ext cx="8229600" cy="70643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482600" y="1960563"/>
            <a:ext cx="4038600" cy="449262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73600" y="1960563"/>
            <a:ext cx="4038600" cy="217011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673600" y="4283075"/>
            <a:ext cx="4038600" cy="217011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Rectangle 4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156DB3-5CDE-411F-8E35-5939A7A068A6}" type="datetime4">
              <a:rPr lang="en-US" smtClean="0"/>
              <a:pPr>
                <a:defRPr/>
              </a:pPr>
              <a:t>November 17, 2014</a:t>
            </a:fld>
            <a:endParaRPr lang="de-DE"/>
          </a:p>
        </p:txBody>
      </p:sp>
      <p:sp>
        <p:nvSpPr>
          <p:cNvPr id="7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© ITK Engineering</a:t>
            </a:r>
            <a:endParaRPr lang="en-GB"/>
          </a:p>
        </p:txBody>
      </p:sp>
      <p:sp>
        <p:nvSpPr>
          <p:cNvPr id="8" name="Rectangle 4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80E0ED-2108-4060-A6D4-B6BA8FDE454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6579688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039819-EA2B-40E2-A3AF-D7B525D57A17}" type="datetime4">
              <a:rPr lang="en-US" smtClean="0"/>
              <a:pPr>
                <a:defRPr/>
              </a:pPr>
              <a:t>November 17, 2014</a:t>
            </a:fld>
            <a:endParaRPr lang="de-DE"/>
          </a:p>
        </p:txBody>
      </p:sp>
      <p:sp>
        <p:nvSpPr>
          <p:cNvPr id="3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© ITK Engineering</a:t>
            </a:r>
            <a:endParaRPr lang="en-GB"/>
          </a:p>
        </p:txBody>
      </p:sp>
      <p:sp>
        <p:nvSpPr>
          <p:cNvPr id="4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8F5E60-50F5-477B-85BF-0151C3F554E5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84874881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I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O:\090_Bilder\Fotolia_Bilder\Rail\Fotolia_44067431_M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9160" b="51066"/>
          <a:stretch/>
        </p:blipFill>
        <p:spPr bwMode="auto">
          <a:xfrm>
            <a:off x="-8089" y="3717031"/>
            <a:ext cx="9164977" cy="3293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67544" y="418908"/>
            <a:ext cx="1334267" cy="1157119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1801811" y="1916830"/>
            <a:ext cx="7342189" cy="1800201"/>
          </a:xfrm>
          <a:prstGeom prst="rect">
            <a:avLst/>
          </a:prstGeom>
          <a:solidFill>
            <a:srgbClr val="6976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/>
        </p:nvSpPr>
        <p:spPr>
          <a:xfrm>
            <a:off x="1801812" y="3644070"/>
            <a:ext cx="7355078" cy="216977"/>
          </a:xfrm>
          <a:prstGeom prst="rect">
            <a:avLst/>
          </a:prstGeom>
          <a:solidFill>
            <a:srgbClr val="FFFFFF">
              <a:alpha val="78824"/>
            </a:srgbClr>
          </a:solidFill>
          <a:ln>
            <a:noFill/>
          </a:ln>
          <a:effectLst>
            <a:glow rad="228600">
              <a:schemeClr val="bg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Titel 24"/>
          <p:cNvSpPr>
            <a:spLocks noGrp="1"/>
          </p:cNvSpPr>
          <p:nvPr>
            <p:ph type="title"/>
          </p:nvPr>
        </p:nvSpPr>
        <p:spPr>
          <a:xfrm>
            <a:off x="2051720" y="2213992"/>
            <a:ext cx="6696744" cy="1143000"/>
          </a:xfrm>
        </p:spPr>
        <p:txBody>
          <a:bodyPr>
            <a:normAutofit/>
          </a:bodyPr>
          <a:lstStyle>
            <a:lvl1pPr marL="0" indent="0" algn="l">
              <a:buFont typeface="Arial" pitchFamily="34" charset="0"/>
              <a:buNone/>
              <a:defRPr lang="de-DE" sz="4400" kern="1200" dirty="0" smtClean="0">
                <a:solidFill>
                  <a:schemeClr val="bg1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902001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_IT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-17510"/>
            <a:ext cx="9144000" cy="99823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2000">
                <a:schemeClr val="bg1">
                  <a:lumMod val="95000"/>
                </a:schemeClr>
              </a:gs>
              <a:gs pos="80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1840" y="1124744"/>
            <a:ext cx="8435280" cy="5184576"/>
          </a:xfrm>
        </p:spPr>
        <p:txBody>
          <a:bodyPr>
            <a:normAutofit/>
          </a:bodyPr>
          <a:lstStyle>
            <a:lvl1pPr marL="342900" indent="-342900">
              <a:buClr>
                <a:srgbClr val="BFCA00"/>
              </a:buClr>
              <a:buFont typeface="Wingdings" pitchFamily="2" charset="2"/>
              <a:buChar char="§"/>
              <a:defRPr sz="24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1pPr>
            <a:lvl2pPr marL="742950" indent="-285750">
              <a:buClr>
                <a:srgbClr val="BFCA00"/>
              </a:buClr>
              <a:buFont typeface="Wingdings" pitchFamily="2" charset="2"/>
              <a:buChar char="§"/>
              <a:defRPr sz="20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2pPr>
            <a:lvl3pPr marL="1143000" indent="-228600">
              <a:buClr>
                <a:srgbClr val="BFCA00"/>
              </a:buClr>
              <a:buFont typeface="Wingdings" pitchFamily="2" charset="2"/>
              <a:buChar char="§"/>
              <a:defRPr sz="18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3pPr>
            <a:lvl4pPr marL="1600200" indent="-228600">
              <a:buClr>
                <a:srgbClr val="BFCA00"/>
              </a:buClr>
              <a:buFont typeface="Wingdings" pitchFamily="2" charset="2"/>
              <a:buChar char="§"/>
              <a:defRPr sz="16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4pPr>
            <a:lvl5pPr marL="2057400" indent="-228600">
              <a:buClr>
                <a:srgbClr val="BFCA00"/>
              </a:buClr>
              <a:buFont typeface="Wingdings" pitchFamily="2" charset="2"/>
              <a:buChar char="§"/>
              <a:defRPr sz="1600">
                <a:solidFill>
                  <a:srgbClr val="003A74"/>
                </a:solidFill>
                <a:latin typeface="+mn-lt"/>
                <a:ea typeface="Arial Unicode MS" pitchFamily="34" charset="-128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475656" y="115549"/>
            <a:ext cx="7344816" cy="762691"/>
          </a:xfrm>
        </p:spPr>
        <p:txBody>
          <a:bodyPr>
            <a:noAutofit/>
          </a:bodyPr>
          <a:lstStyle>
            <a:lvl1pPr algn="l">
              <a:defRPr lang="de-DE" sz="3200" kern="1200" dirty="0" smtClean="0">
                <a:solidFill>
                  <a:srgbClr val="003A74"/>
                </a:solidFill>
                <a:latin typeface="Georgia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95288" y="197413"/>
            <a:ext cx="792087" cy="686923"/>
          </a:xfrm>
          <a:prstGeom prst="rect">
            <a:avLst/>
          </a:prstGeom>
        </p:spPr>
      </p:pic>
      <p:cxnSp>
        <p:nvCxnSpPr>
          <p:cNvPr id="10" name="Gerade Verbindung 9"/>
          <p:cNvCxnSpPr/>
          <p:nvPr userDrawn="1"/>
        </p:nvCxnSpPr>
        <p:spPr>
          <a:xfrm>
            <a:off x="0" y="6597352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umsplatzhalter 5"/>
          <p:cNvSpPr>
            <a:spLocks noGrp="1"/>
          </p:cNvSpPr>
          <p:nvPr>
            <p:ph type="dt" sz="half" idx="10"/>
          </p:nvPr>
        </p:nvSpPr>
        <p:spPr>
          <a:xfrm>
            <a:off x="323528" y="6557542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F200AD40-679D-4B7D-8732-4E7F619583B5}" type="datetime4">
              <a:rPr lang="en-US" smtClean="0"/>
              <a:pPr/>
              <a:t>November 17, 2014</a:t>
            </a:fld>
            <a:endParaRPr lang="de-DE" dirty="0"/>
          </a:p>
        </p:txBody>
      </p:sp>
      <p:sp>
        <p:nvSpPr>
          <p:cNvPr id="12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3124200" y="6557542"/>
            <a:ext cx="2895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14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661164" y="6557542"/>
            <a:ext cx="2133600" cy="365125"/>
          </a:xfrm>
        </p:spPr>
        <p:txBody>
          <a:bodyPr/>
          <a:lstStyle>
            <a:lvl1pPr>
              <a:defRPr sz="1100"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fld id="{54C49D4F-05A1-43D6-BA1B-62865A4310A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820317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AD929-E5F6-4793-9F1F-9C1080588AFB}" type="datetime4">
              <a:rPr lang="en-US" smtClean="0"/>
              <a:pPr/>
              <a:t>November 17, 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550058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391D0F-06A3-4C50-825D-128B07186F15}" type="datetime4">
              <a:rPr lang="en-US" smtClean="0"/>
              <a:pPr/>
              <a:t>November 17, 20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293097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AC8213-DBCD-4C07-99ED-56DD5C19A970}" type="datetime4">
              <a:rPr lang="en-US" smtClean="0"/>
              <a:pPr/>
              <a:t>November 17, 2014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7229234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457200" y="6448251"/>
            <a:ext cx="2133600" cy="365125"/>
          </a:xfrm>
        </p:spPr>
        <p:txBody>
          <a:bodyPr/>
          <a:lstStyle>
            <a:lvl1pPr>
              <a:defRPr sz="1100">
                <a:latin typeface="Arial Unicode MS" pitchFamily="34" charset="-128"/>
                <a:ea typeface="Arial Unicode MS" pitchFamily="34" charset="-128"/>
                <a:cs typeface="Arial Unicode MS" pitchFamily="34" charset="-128"/>
              </a:defRPr>
            </a:lvl1pPr>
          </a:lstStyle>
          <a:p>
            <a:fld id="{B67DBC66-898F-42DA-8B8E-071588282CBB}" type="datetime4">
              <a:rPr lang="en-US" smtClean="0"/>
              <a:pPr/>
              <a:t>November 17, 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124200" y="6448251"/>
            <a:ext cx="2895600" cy="365125"/>
          </a:xfrm>
        </p:spPr>
        <p:txBody>
          <a:bodyPr/>
          <a:lstStyle>
            <a:lvl1pPr>
              <a:defRPr sz="1100">
                <a:latin typeface="Arial Unicode MS" pitchFamily="34" charset="-128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de-DE" smtClean="0"/>
              <a:t>© ITK Engineer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553200" y="6448251"/>
            <a:ext cx="2133600" cy="365125"/>
          </a:xfrm>
        </p:spPr>
        <p:txBody>
          <a:bodyPr/>
          <a:lstStyle>
            <a:lvl1pPr>
              <a:defRPr sz="1100">
                <a:latin typeface="Arial Unicode MS" pitchFamily="34" charset="-128"/>
                <a:ea typeface="Arial Unicode MS" pitchFamily="34" charset="-128"/>
                <a:cs typeface="Arial Unicode MS" pitchFamily="34" charset="-128"/>
              </a:defRPr>
            </a:lvl1pPr>
          </a:lstStyle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67545" y="404664"/>
            <a:ext cx="792087" cy="686923"/>
          </a:xfrm>
          <a:prstGeom prst="rect">
            <a:avLst/>
          </a:prstGeom>
        </p:spPr>
      </p:pic>
      <p:cxnSp>
        <p:nvCxnSpPr>
          <p:cNvPr id="11" name="Gerade Verbindung 10"/>
          <p:cNvCxnSpPr/>
          <p:nvPr userDrawn="1"/>
        </p:nvCxnSpPr>
        <p:spPr>
          <a:xfrm>
            <a:off x="467545" y="6453336"/>
            <a:ext cx="8208911" cy="0"/>
          </a:xfrm>
          <a:prstGeom prst="line">
            <a:avLst/>
          </a:prstGeom>
          <a:ln>
            <a:solidFill>
              <a:srgbClr val="5D6A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1691680" y="419100"/>
            <a:ext cx="6984008" cy="6724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1819161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F1BF4-0350-4395-80C5-FE0FC0F0EED9}" type="datetime4">
              <a:rPr lang="en-US" smtClean="0"/>
              <a:pPr/>
              <a:t>November 17, 20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999524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76A7C-8D10-4D93-8505-4FA4EBF8D2BE}" type="datetime4">
              <a:rPr lang="en-US" smtClean="0"/>
              <a:pPr/>
              <a:t>November 17, 20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855101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7D3A9-E310-4B8E-97D5-05245CE5BC45}" type="datetime4">
              <a:rPr lang="en-US" smtClean="0"/>
              <a:pPr/>
              <a:t>November 17, 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6147693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0FD1A7-140B-4F6E-9F85-59FA38012658}" type="datetime4">
              <a:rPr lang="en-US" smtClean="0"/>
              <a:pPr/>
              <a:t>November 17, 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© ITK Engineering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C49D4F-05A1-43D6-BA1B-62865A4310A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923325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73" r:id="rId16"/>
  </p:sldLayoutIdLst>
  <p:timing>
    <p:tnLst>
      <p:par>
        <p:cTn id="1" dur="indefinite" restart="never" nodeType="tmRoot"/>
      </p:par>
    </p:tnLst>
  </p:timing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42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41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4.xml"/><Relationship Id="rId10" Type="http://schemas.openxmlformats.org/officeDocument/2006/relationships/image" Target="../media/image21.png"/><Relationship Id="rId4" Type="http://schemas.openxmlformats.org/officeDocument/2006/relationships/tags" Target="../tags/tag43.xml"/><Relationship Id="rId9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46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8.xml"/><Relationship Id="rId4" Type="http://schemas.openxmlformats.org/officeDocument/2006/relationships/tags" Target="../tags/tag47.xml"/><Relationship Id="rId9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51.xml"/><Relationship Id="rId9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5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9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12.png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hyperlink" Target="SCons_auto_release_integration.docx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image" Target="../media/image14.png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15.png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tags" Target="../tags/tag21.xml"/><Relationship Id="rId11" Type="http://schemas.openxmlformats.org/officeDocument/2006/relationships/hyperlink" Target="SCons_auto_release_integration.docx" TargetMode="External"/><Relationship Id="rId5" Type="http://schemas.openxmlformats.org/officeDocument/2006/relationships/tags" Target="../tags/tag20.xml"/><Relationship Id="rId10" Type="http://schemas.openxmlformats.org/officeDocument/2006/relationships/oleObject" Target="../embeddings/oleObject4.bin"/><Relationship Id="rId4" Type="http://schemas.openxmlformats.org/officeDocument/2006/relationships/tags" Target="../tags/tag19.xml"/><Relationship Id="rId9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10" Type="http://schemas.openxmlformats.org/officeDocument/2006/relationships/image" Target="../media/image16.png"/><Relationship Id="rId4" Type="http://schemas.openxmlformats.org/officeDocument/2006/relationships/tags" Target="../tags/tag25.xml"/><Relationship Id="rId9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7.png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34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8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K Engineer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AutoRelease</a:t>
            </a:r>
          </a:p>
          <a:p>
            <a:r>
              <a:rPr lang="en-US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Rollout, Getting Started &amp; Quick Reference</a:t>
            </a:r>
            <a:endParaRPr lang="en-US" dirty="0">
              <a:solidFill>
                <a:srgbClr val="003A74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98829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1730" name="think-cell Slide" r:id="rId8" imgW="360" imgH="36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Code Handover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November 17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379635" y="1160748"/>
            <a:ext cx="84408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Since the code handover document is a text format file, it is normally not blocked by the editor. Therefore the script is waiting and you have to return to the script’s console window and confirm the modifications.</a:t>
            </a:r>
          </a:p>
          <a:p>
            <a:endParaRPr lang="de-DE" sz="1400" dirty="0">
              <a:solidFill>
                <a:srgbClr val="003A7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1731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7544" y="1736812"/>
            <a:ext cx="8208403" cy="2070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feld 10"/>
          <p:cNvSpPr txBox="1"/>
          <p:nvPr/>
        </p:nvSpPr>
        <p:spPr>
          <a:xfrm>
            <a:off x="379635" y="3861048"/>
            <a:ext cx="84408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The handover is checked for occurrences of tabs and non-filled places. If such were found an error is printed and the code handover document is re-opened.</a:t>
            </a:r>
          </a:p>
          <a:p>
            <a:endParaRPr lang="de-DE" sz="1400" dirty="0">
              <a:solidFill>
                <a:srgbClr val="003A7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1732" name="Picture 4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67544" y="4454995"/>
            <a:ext cx="8208403" cy="2070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3778" name="think-cell Slide" r:id="rId8" imgW="360" imgH="36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Checkpoint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November 17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379635" y="1160748"/>
            <a:ext cx="844083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Finally the checkpoint is generated. Before it starts you have to confirm this step. </a:t>
            </a:r>
            <a:r>
              <a:rPr lang="en-US" sz="1400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It is useful to have a look in MKS to make sure everything is as you expect. Finally the script finishes and a status message is printed.</a:t>
            </a:r>
            <a:endParaRPr lang="en-US" sz="1400" dirty="0" smtClean="0">
              <a:solidFill>
                <a:srgbClr val="003A74"/>
              </a:solidFill>
              <a:latin typeface="Arial" pitchFamily="34" charset="0"/>
              <a:cs typeface="Arial" pitchFamily="34" charset="0"/>
            </a:endParaRPr>
          </a:p>
          <a:p>
            <a:endParaRPr lang="de-DE" sz="1400" dirty="0">
              <a:solidFill>
                <a:srgbClr val="003A7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3779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7544" y="2024844"/>
            <a:ext cx="8208403" cy="36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642" name="think-cell Slide" r:id="rId10" imgW="360" imgH="36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Return Code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November 17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5" name="Rechteck 14"/>
          <p:cNvSpPr/>
          <p:nvPr>
            <p:custDataLst>
              <p:tags r:id="rId6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Status output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1560" y="2060847"/>
            <a:ext cx="7931225" cy="111612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400" dirty="0" smtClean="0"/>
              <a:t>The auto release script returns </a:t>
            </a:r>
            <a:r>
              <a:rPr lang="en-US" sz="1400" dirty="0" smtClean="0"/>
              <a:t>a </a:t>
            </a:r>
            <a:r>
              <a:rPr lang="en-US" sz="1400" dirty="0" smtClean="0"/>
              <a:t>numeric code</a:t>
            </a:r>
          </a:p>
          <a:p>
            <a:r>
              <a:rPr lang="en-US" sz="1400" dirty="0" smtClean="0"/>
              <a:t>This code is also returned by SCons an may be used in batch files</a:t>
            </a:r>
          </a:p>
          <a:p>
            <a:r>
              <a:rPr lang="en-US" sz="1400" dirty="0" smtClean="0"/>
              <a:t>There is also clear text output</a:t>
            </a:r>
          </a:p>
          <a:p>
            <a:r>
              <a:rPr lang="en-US" sz="1400" dirty="0" smtClean="0"/>
              <a:t>This gives more information whether the script has been succeeded or failed</a:t>
            </a:r>
          </a:p>
        </p:txBody>
      </p:sp>
      <p:sp>
        <p:nvSpPr>
          <p:cNvPr id="11" name="Rechteck 10"/>
          <p:cNvSpPr/>
          <p:nvPr/>
        </p:nvSpPr>
        <p:spPr>
          <a:xfrm>
            <a:off x="646650" y="3861048"/>
            <a:ext cx="7900935" cy="147732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The auto release script was terminated due to an error.</a:t>
            </a: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Error description: 1 inconsistent files found.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scons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: *** [D:\sandboxes\CIPP_AutoReleaseTest\04_Engineering\04_Build\algo\cipp\CIPP_AlgorithmCodeHandover_AutoRelease.docx] Error 1</a:t>
            </a:r>
          </a:p>
          <a:p>
            <a:r>
              <a:rPr lang="en-US" sz="1000" dirty="0" err="1" smtClean="0">
                <a:latin typeface="Courier New" pitchFamily="49" charset="0"/>
                <a:cs typeface="Courier New" pitchFamily="49" charset="0"/>
              </a:rPr>
              <a:t>scons</a:t>
            </a:r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: building terminated because of errors.</a:t>
            </a:r>
          </a:p>
          <a:p>
            <a:endParaRPr lang="en-US" sz="10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000" dirty="0" smtClean="0">
                <a:latin typeface="Courier New" pitchFamily="49" charset="0"/>
                <a:cs typeface="Courier New" pitchFamily="49" charset="0"/>
              </a:rPr>
              <a:t>Build FAILED!!!!</a:t>
            </a:r>
          </a:p>
        </p:txBody>
      </p:sp>
      <p:sp>
        <p:nvSpPr>
          <p:cNvPr id="12" name="Ellipse 11"/>
          <p:cNvSpPr/>
          <p:nvPr/>
        </p:nvSpPr>
        <p:spPr>
          <a:xfrm>
            <a:off x="2123728" y="4617132"/>
            <a:ext cx="252028" cy="252028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1861708" y="5656602"/>
            <a:ext cx="1190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Error Cod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2123728" y="4041068"/>
            <a:ext cx="2160240" cy="18002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/>
          <p:cNvSpPr txBox="1"/>
          <p:nvPr/>
        </p:nvSpPr>
        <p:spPr>
          <a:xfrm>
            <a:off x="3491880" y="5656602"/>
            <a:ext cx="36683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etailed error description (clear text)</a:t>
            </a:r>
            <a:endParaRPr lang="en-US" dirty="0"/>
          </a:p>
        </p:txBody>
      </p:sp>
      <p:cxnSp>
        <p:nvCxnSpPr>
          <p:cNvPr id="18" name="Gerade Verbindung mit Pfeil 17"/>
          <p:cNvCxnSpPr>
            <a:stCxn id="13" idx="0"/>
            <a:endCxn id="12" idx="4"/>
          </p:cNvCxnSpPr>
          <p:nvPr/>
        </p:nvCxnSpPr>
        <p:spPr>
          <a:xfrm flipH="1" flipV="1">
            <a:off x="2249742" y="4869160"/>
            <a:ext cx="207386" cy="787442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stCxn id="16" idx="0"/>
            <a:endCxn id="14" idx="2"/>
          </p:cNvCxnSpPr>
          <p:nvPr/>
        </p:nvCxnSpPr>
        <p:spPr>
          <a:xfrm flipH="1" flipV="1">
            <a:off x="3203848" y="4221088"/>
            <a:ext cx="2122221" cy="1435514"/>
          </a:xfrm>
          <a:prstGeom prst="straightConnector1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3666" name="think-cell Slide" r:id="rId9" imgW="360" imgH="36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Return Code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November 17, 201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en-US" smtClean="0"/>
              <a:t>© ITK Engineering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5" name="Rechteck 14"/>
          <p:cNvSpPr/>
          <p:nvPr>
            <p:custDataLst>
              <p:tags r:id="rId6"/>
            </p:custDataLst>
          </p:nvPr>
        </p:nvSpPr>
        <p:spPr bwMode="auto">
          <a:xfrm>
            <a:off x="616360" y="1157052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Complete list of return codes</a:t>
            </a:r>
            <a:endParaRPr lang="en-US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graphicFrame>
        <p:nvGraphicFramePr>
          <p:cNvPr id="10" name="Tabelle 9"/>
          <p:cNvGraphicFramePr>
            <a:graphicFrameLocks noGrp="1"/>
          </p:cNvGraphicFramePr>
          <p:nvPr/>
        </p:nvGraphicFramePr>
        <p:xfrm>
          <a:off x="1223628" y="1700816"/>
          <a:ext cx="6696744" cy="4752512"/>
        </p:xfrm>
        <a:graphic>
          <a:graphicData uri="http://schemas.openxmlformats.org/drawingml/2006/table">
            <a:tbl>
              <a:tblPr/>
              <a:tblGrid>
                <a:gridCol w="489522"/>
                <a:gridCol w="2321879"/>
                <a:gridCol w="3885343"/>
              </a:tblGrid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 dirty="0">
                          <a:latin typeface="Arial"/>
                          <a:ea typeface="Times New Roman"/>
                          <a:cs typeface="Times New Roman"/>
                        </a:rPr>
                        <a:t>Value</a:t>
                      </a:r>
                      <a:endParaRPr lang="de-DE" sz="8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Label in script code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Description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0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OK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dirty="0">
                          <a:latin typeface="Arial"/>
                          <a:ea typeface="Times New Roman"/>
                          <a:cs typeface="Times New Roman"/>
                        </a:rPr>
                        <a:t>no errors</a:t>
                      </a:r>
                      <a:endParaRPr lang="de-DE" sz="8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1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CONSCHECK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dirty="0">
                          <a:latin typeface="Arial"/>
                          <a:ea typeface="Times New Roman"/>
                          <a:cs typeface="Times New Roman"/>
                        </a:rPr>
                        <a:t>consistency check failed</a:t>
                      </a:r>
                      <a:endParaRPr lang="de-DE" sz="8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664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 strike="dblStrike">
                          <a:solidFill>
                            <a:srgbClr val="D9D9D9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strike="dblStrike">
                          <a:solidFill>
                            <a:srgbClr val="D9D9D9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AUTOREL_ERR_LISTCHGP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getting change packages failed (not used anymore due to re-scan feature)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3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VERFILE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the version file was not found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4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INVVERFILE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invalid version file format (unexpected content)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5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LOCKMEM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locking single member failed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6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LOCKDIRS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locking release paths failed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7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WRITEVERFILE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changing version file failed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8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LIBSIZE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libsize files were not found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9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REBUILD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rebuilding libs failed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10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HANDOVER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creating code handover document failed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11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INSTALL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the installation of the code handover failed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12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CHECKIN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check-in failed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13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CHECKPOINT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creating checkpoint failed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14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PROJCONF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parsing xml project configuration failed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494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15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INV_VERNUM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dirty="0">
                          <a:latin typeface="Arial"/>
                          <a:ea typeface="Times New Roman"/>
                          <a:cs typeface="Times New Roman"/>
                        </a:rPr>
                        <a:t>invalid version number (8 bit unsigned it expected) or max number 255.255.255 (not increasable)</a:t>
                      </a:r>
                      <a:endParaRPr lang="de-DE" sz="8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16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ADD_HANDOVER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dirty="0">
                          <a:latin typeface="Arial"/>
                          <a:ea typeface="Times New Roman"/>
                          <a:cs typeface="Times New Roman"/>
                        </a:rPr>
                        <a:t>adding handover to MKS sandbox failed</a:t>
                      </a:r>
                      <a:endParaRPr lang="de-DE" sz="8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664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17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NON_BUILD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shared sub-projects found that are not of type build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664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18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UPDT_VER_DELIV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updating delivered version file revision failed.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847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19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FREEZE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Freezing complete sandbox or single member failed. See detailed error message.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847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20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THAW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Thawing complete sandbox or single member failed. See detailed error message.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22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21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AUTOREL_ERR_MANUAL_TEST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Manual tests are declared to be not successful.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494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 strike="dblStrike">
                          <a:solidFill>
                            <a:srgbClr val="BFBFBF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00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strike="dblStrike">
                          <a:solidFill>
                            <a:srgbClr val="BFBFBF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AUTOREL_ERR_USERTERM_CP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user terminated the script at change package selection (not used anymore due to re-scan feature)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664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800">
                          <a:latin typeface="Arial"/>
                          <a:ea typeface="Times New Roman"/>
                          <a:cs typeface="Times New Roman"/>
                        </a:rPr>
                        <a:t>101</a:t>
                      </a:r>
                      <a:endParaRPr lang="de-DE" sz="8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dirty="0">
                          <a:latin typeface="Arial"/>
                          <a:ea typeface="Times New Roman"/>
                          <a:cs typeface="Times New Roman"/>
                        </a:rPr>
                        <a:t>AUTOREL_ERR_USERTERM_CI</a:t>
                      </a:r>
                      <a:endParaRPr lang="de-DE" sz="8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800" dirty="0">
                          <a:latin typeface="Arial"/>
                          <a:ea typeface="Times New Roman"/>
                          <a:cs typeface="Times New Roman"/>
                        </a:rPr>
                        <a:t>user terminated the script before committing the release</a:t>
                      </a:r>
                      <a:endParaRPr lang="de-DE" sz="8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7501" marR="4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9532" y="1196752"/>
            <a:ext cx="7931225" cy="2484276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200" dirty="0" smtClean="0"/>
              <a:t>Create the folder 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04_Engineering\03_Workspace\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algo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component_name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</a:t>
            </a:r>
            <a:r>
              <a:rPr lang="en-US" sz="1100" b="1" u="sng" dirty="0" err="1" smtClean="0">
                <a:latin typeface="Courier New" pitchFamily="49" charset="0"/>
                <a:cs typeface="Courier New" pitchFamily="49" charset="0"/>
              </a:rPr>
              <a:t>autorelease</a:t>
            </a:r>
            <a:endParaRPr lang="en-US" sz="1100" b="1" u="sng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200" dirty="0" smtClean="0"/>
              <a:t>Copy 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02_Development_Tools\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scons_tools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scons_templates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03_Workspace\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algo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xxx\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autorelease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</a:t>
            </a:r>
            <a:br>
              <a:rPr lang="en-US" sz="1100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autorel_handover_template.scfg</a:t>
            </a:r>
            <a:r>
              <a:rPr lang="en-US" sz="1200" b="1" u="sng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200" b="1" u="sng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200" dirty="0" smtClean="0"/>
              <a:t>to the new folder. This is the AutoRelease</a:t>
            </a:r>
            <a:br>
              <a:rPr lang="en-US" sz="1200" dirty="0" smtClean="0"/>
            </a:br>
            <a:r>
              <a:rPr lang="en-US" sz="1200" dirty="0" smtClean="0"/>
              <a:t>configuration file.</a:t>
            </a:r>
          </a:p>
          <a:p>
            <a:r>
              <a:rPr lang="en-US" sz="1200" dirty="0" smtClean="0"/>
              <a:t>Rename it: 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autorel_handover.scfg</a:t>
            </a:r>
            <a:endParaRPr lang="en-US" sz="1100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200" dirty="0" smtClean="0"/>
              <a:t>Edit the configuration file, refer to </a:t>
            </a:r>
            <a:br>
              <a:rPr lang="en-US" sz="1200" dirty="0" smtClean="0"/>
            </a:br>
            <a:r>
              <a:rPr lang="en-US" sz="1100" dirty="0" smtClean="0">
                <a:latin typeface="Courier New" pitchFamily="49" charset="0"/>
                <a:cs typeface="Courier New" pitchFamily="49" charset="0"/>
                <a:hlinkClick r:id="rId9" action="ppaction://hlinkfile"/>
              </a:rPr>
              <a:t>SCons_auto_release_integration.docx</a:t>
            </a:r>
            <a:r>
              <a:rPr lang="en-US" sz="1200" dirty="0" smtClean="0"/>
              <a:t>, </a:t>
            </a:r>
            <a:br>
              <a:rPr lang="en-US" sz="1200" dirty="0" smtClean="0"/>
            </a:br>
            <a:r>
              <a:rPr lang="en-US" sz="1200" dirty="0" smtClean="0"/>
              <a:t>chapter 3</a:t>
            </a:r>
          </a:p>
          <a:p>
            <a:r>
              <a:rPr lang="en-US" sz="1200" dirty="0" smtClean="0"/>
              <a:t>Add configuration to MKS:</a:t>
            </a:r>
            <a:br>
              <a:rPr lang="en-US" sz="1200" dirty="0" smtClean="0"/>
            </a:br>
            <a:r>
              <a:rPr lang="en-US" sz="1200" dirty="0" smtClean="0"/>
              <a:t>Add Members…/Add Directory/</a:t>
            </a:r>
            <a:br>
              <a:rPr lang="en-US" sz="1200" dirty="0" smtClean="0"/>
            </a:br>
            <a:r>
              <a:rPr lang="en-US" sz="1200" dirty="0" smtClean="0"/>
              <a:t>“</a:t>
            </a:r>
            <a:r>
              <a:rPr lang="en-US" sz="1200" dirty="0" err="1" smtClean="0"/>
              <a:t>autorelease</a:t>
            </a:r>
            <a:r>
              <a:rPr lang="en-US" sz="1200" dirty="0" smtClean="0"/>
              <a:t>”</a:t>
            </a:r>
          </a:p>
        </p:txBody>
      </p:sp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6866" name="think-cell Slide" r:id="rId10" imgW="360" imgH="36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88178" y="116773"/>
            <a:ext cx="7344816" cy="762691"/>
          </a:xfrm>
        </p:spPr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Rollout 1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236050" y="6558766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November 17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3036722" y="6558766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6573686" y="6558766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36867" name="Picture 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722975" y="1844824"/>
            <a:ext cx="5133501" cy="4656177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6171645" y="2420888"/>
            <a:ext cx="1584177" cy="14400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3959932" y="5769260"/>
            <a:ext cx="1584177" cy="14400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" name="Form 13"/>
          <p:cNvCxnSpPr>
            <a:stCxn id="9" idx="2"/>
            <a:endCxn id="10" idx="3"/>
          </p:cNvCxnSpPr>
          <p:nvPr/>
        </p:nvCxnSpPr>
        <p:spPr>
          <a:xfrm rot="5400000">
            <a:off x="4615736" y="3493262"/>
            <a:ext cx="3276372" cy="1419625"/>
          </a:xfrm>
          <a:prstGeom prst="bentConnector2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3">
            <a:hlinkClick r:id="rId9" action="ppaction://hlinkfile"/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86722" y="3681028"/>
            <a:ext cx="1920901" cy="2731948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cxnSp>
        <p:nvCxnSpPr>
          <p:cNvPr id="20" name="Form 19"/>
          <p:cNvCxnSpPr>
            <a:endCxn id="17" idx="3"/>
          </p:cNvCxnSpPr>
          <p:nvPr/>
        </p:nvCxnSpPr>
        <p:spPr>
          <a:xfrm rot="5400000">
            <a:off x="1930711" y="3665853"/>
            <a:ext cx="2158062" cy="604237"/>
          </a:xfrm>
          <a:prstGeom prst="bentConnector2">
            <a:avLst/>
          </a:prstGeom>
          <a:ln w="127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9532" y="1196752"/>
            <a:ext cx="7931225" cy="349238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200" dirty="0" smtClean="0"/>
              <a:t>Copy the following text block from </a:t>
            </a:r>
            <a:br>
              <a:rPr lang="en-US" sz="1200" dirty="0" smtClean="0"/>
            </a:br>
            <a:r>
              <a:rPr lang="en-US" sz="1200" dirty="0" smtClean="0"/>
              <a:t>	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02_Development_Tools\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scons_tools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scons_templates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03_Workspace\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algo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xxx\</a:t>
            </a:r>
            <a:br>
              <a:rPr lang="en-US" sz="1100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sconscript_setup_config.scfg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100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100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100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100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100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100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100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100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100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100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100" dirty="0" smtClean="0">
                <a:latin typeface="Courier New" pitchFamily="49" charset="0"/>
                <a:cs typeface="Courier New" pitchFamily="49" charset="0"/>
              </a:rPr>
            </a:br>
            <a:endParaRPr lang="en-US" sz="1200" b="1" u="sng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sz="1200" dirty="0" smtClean="0"/>
              <a:t>to the file </a:t>
            </a:r>
            <a:br>
              <a:rPr lang="en-US" sz="1200" dirty="0" smtClean="0"/>
            </a:br>
            <a:r>
              <a:rPr lang="en-US" sz="1100" dirty="0" smtClean="0"/>
              <a:t>	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03_Workspace\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algo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component_name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>\</a:t>
            </a:r>
            <a:r>
              <a:rPr lang="en-US" sz="1100" dirty="0" err="1" smtClean="0">
                <a:latin typeface="Courier New" pitchFamily="49" charset="0"/>
                <a:cs typeface="Courier New" pitchFamily="49" charset="0"/>
              </a:rPr>
              <a:t>sconscript_setup_config.scfg</a:t>
            </a:r>
            <a:r>
              <a:rPr lang="en-US" sz="11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100" dirty="0" smtClean="0">
                <a:latin typeface="Courier New" pitchFamily="49" charset="0"/>
                <a:cs typeface="Courier New" pitchFamily="49" charset="0"/>
              </a:rPr>
            </a:br>
            <a:endParaRPr lang="en-US" sz="1100" dirty="0" smtClean="0"/>
          </a:p>
          <a:p>
            <a:r>
              <a:rPr lang="en-US" sz="1200" dirty="0" smtClean="0"/>
              <a:t>Check-in changes to MKS</a:t>
            </a:r>
          </a:p>
        </p:txBody>
      </p:sp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5586" name="think-cell Slide" r:id="rId9" imgW="360" imgH="36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88178" y="116773"/>
            <a:ext cx="7344816" cy="762691"/>
          </a:xfrm>
        </p:spPr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Rollout 2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236050" y="6558766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November 17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3036722" y="6558766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6573686" y="6558766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95587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7504" y="2053469"/>
            <a:ext cx="8928484" cy="123151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6610" name="think-cell Slide" r:id="rId9" imgW="360" imgH="36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88178" y="116773"/>
            <a:ext cx="7344816" cy="762691"/>
          </a:xfrm>
        </p:spPr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Rollout 3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236050" y="6558766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November 17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036722" y="6558766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573686" y="6558766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Rectangle 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06388" y="1340768"/>
            <a:ext cx="7931225" cy="201622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r>
              <a:rPr lang="en-US" sz="1200" dirty="0" smtClean="0"/>
              <a:t>Add the following line to </a:t>
            </a:r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\03_Workspace\</a:t>
            </a:r>
            <a:r>
              <a:rPr lang="en-US" sz="1200" dirty="0" err="1" smtClean="0">
                <a:latin typeface="Courier New" pitchFamily="49" charset="0"/>
                <a:cs typeface="Courier New" pitchFamily="49" charset="0"/>
              </a:rPr>
              <a:t>algo</a:t>
            </a:r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\</a:t>
            </a:r>
            <a:r>
              <a:rPr lang="en-US" sz="1200" dirty="0" err="1" smtClean="0">
                <a:latin typeface="Courier New" pitchFamily="49" charset="0"/>
                <a:cs typeface="Courier New" pitchFamily="49" charset="0"/>
              </a:rPr>
              <a:t>component_name</a:t>
            </a:r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\</a:t>
            </a:r>
            <a:r>
              <a:rPr lang="en-US" sz="1200" dirty="0" err="1" smtClean="0">
                <a:latin typeface="Courier New" pitchFamily="49" charset="0"/>
                <a:cs typeface="Courier New" pitchFamily="49" charset="0"/>
              </a:rPr>
              <a:t>sconstruct_config.scfg</a:t>
            </a:r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200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/>
            </a:r>
            <a:br>
              <a:rPr lang="en-US" sz="1200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200" b="1" dirty="0" smtClean="0">
                <a:latin typeface="Courier New" pitchFamily="49" charset="0"/>
                <a:cs typeface="Courier New" pitchFamily="49" charset="0"/>
              </a:rPr>
              <a:t># support AutoRelease</a:t>
            </a:r>
            <a:br>
              <a:rPr lang="en-US" sz="1200" b="1" dirty="0" smtClean="0">
                <a:latin typeface="Courier New" pitchFamily="49" charset="0"/>
                <a:cs typeface="Courier New" pitchFamily="49" charset="0"/>
              </a:rPr>
            </a:br>
            <a:r>
              <a:rPr lang="en-US" sz="1200" b="1" dirty="0" smtClean="0">
                <a:latin typeface="Courier New" pitchFamily="49" charset="0"/>
                <a:cs typeface="Courier New" pitchFamily="49" charset="0"/>
              </a:rPr>
              <a:t>	</a:t>
            </a:r>
            <a:r>
              <a:rPr lang="en-US" sz="1200" b="1" dirty="0" err="1" smtClean="0">
                <a:latin typeface="Courier New" pitchFamily="49" charset="0"/>
                <a:cs typeface="Courier New" pitchFamily="49" charset="0"/>
              </a:rPr>
              <a:t>autorel_support</a:t>
            </a:r>
            <a:r>
              <a:rPr lang="en-US" sz="1200" b="1" dirty="0" smtClean="0">
                <a:latin typeface="Courier New" pitchFamily="49" charset="0"/>
                <a:cs typeface="Courier New" pitchFamily="49" charset="0"/>
              </a:rPr>
              <a:t> = True </a:t>
            </a:r>
            <a:br>
              <a:rPr lang="en-US" sz="1200" b="1" dirty="0" smtClean="0">
                <a:latin typeface="Courier New" pitchFamily="49" charset="0"/>
                <a:cs typeface="Courier New" pitchFamily="49" charset="0"/>
              </a:rPr>
            </a:br>
            <a:endParaRPr lang="en-US" sz="1200" b="1" dirty="0" smtClean="0"/>
          </a:p>
          <a:p>
            <a:r>
              <a:rPr lang="en-US" sz="1200" dirty="0" smtClean="0"/>
              <a:t>Check-in changes in MKS</a:t>
            </a:r>
            <a:br>
              <a:rPr lang="en-US" sz="1200" dirty="0" smtClean="0"/>
            </a:br>
            <a:endParaRPr lang="en-US" sz="1200" dirty="0" smtClean="0"/>
          </a:p>
          <a:p>
            <a:r>
              <a:rPr lang="en-US" sz="1200" dirty="0" smtClean="0"/>
              <a:t>Now AutoRelease can be started typing the command “</a:t>
            </a:r>
            <a:r>
              <a:rPr lang="en-US" sz="1200" dirty="0" err="1" smtClean="0"/>
              <a:t>scons</a:t>
            </a:r>
            <a:r>
              <a:rPr lang="en-US" sz="1200" dirty="0" smtClean="0"/>
              <a:t> </a:t>
            </a:r>
            <a:r>
              <a:rPr lang="en-US" sz="1200" dirty="0" err="1" smtClean="0"/>
              <a:t>autorel</a:t>
            </a:r>
            <a:r>
              <a:rPr lang="en-US" sz="1200" dirty="0" smtClean="0"/>
              <a:t>” in  </a:t>
            </a:r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\03_Workspace\</a:t>
            </a:r>
            <a:r>
              <a:rPr lang="en-US" sz="1200" dirty="0" err="1" smtClean="0">
                <a:latin typeface="Courier New" pitchFamily="49" charset="0"/>
                <a:cs typeface="Courier New" pitchFamily="49" charset="0"/>
              </a:rPr>
              <a:t>algo</a:t>
            </a:r>
            <a:r>
              <a:rPr lang="en-US" sz="1200" dirty="0" smtClean="0">
                <a:latin typeface="Courier New" pitchFamily="49" charset="0"/>
                <a:cs typeface="Courier New" pitchFamily="49" charset="0"/>
              </a:rPr>
              <a:t>\</a:t>
            </a:r>
            <a:r>
              <a:rPr lang="en-US" sz="1200" dirty="0" err="1" smtClean="0">
                <a:latin typeface="Courier New" pitchFamily="49" charset="0"/>
                <a:cs typeface="Courier New" pitchFamily="49" charset="0"/>
              </a:rPr>
              <a:t>component_name</a:t>
            </a:r>
            <a:endParaRPr lang="en-US" sz="1200" dirty="0" smtClean="0"/>
          </a:p>
        </p:txBody>
      </p:sp>
      <p:pic>
        <p:nvPicPr>
          <p:cNvPr id="196611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29816" y="3825044"/>
            <a:ext cx="7884368" cy="1988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7634" name="think-cell Slide" r:id="rId10" imgW="360" imgH="36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Overview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November 17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8" name="Rectangle 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16360" y="1931629"/>
            <a:ext cx="7931225" cy="36576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>
              <a:buNone/>
            </a:pPr>
            <a:r>
              <a:rPr lang="en-US" sz="1600" dirty="0" smtClean="0"/>
              <a:t>Before the script is started ensure the following pre-conditions are met.</a:t>
            </a:r>
          </a:p>
          <a:p>
            <a:pPr>
              <a:buNone/>
            </a:pPr>
            <a:endParaRPr lang="en-US" sz="1600" dirty="0" smtClean="0"/>
          </a:p>
          <a:p>
            <a:r>
              <a:rPr lang="en-US" sz="1600" dirty="0" smtClean="0"/>
              <a:t>Access to the MKS server must be available (ports 7001 &amp; 7002)</a:t>
            </a:r>
          </a:p>
          <a:p>
            <a:r>
              <a:rPr lang="en-US" sz="1600" dirty="0" smtClean="0"/>
              <a:t>At least the configured build targets (</a:t>
            </a:r>
            <a:r>
              <a:rPr lang="en-US" sz="1600" dirty="0" err="1" smtClean="0"/>
              <a:t>autorelease</a:t>
            </a:r>
            <a:r>
              <a:rPr lang="en-US" sz="1600" dirty="0" smtClean="0"/>
              <a:t>/</a:t>
            </a:r>
            <a:r>
              <a:rPr lang="en-US" sz="1600" dirty="0" err="1" smtClean="0"/>
              <a:t>autorel_handover.scfg</a:t>
            </a:r>
            <a:r>
              <a:rPr lang="en-US" sz="1600" dirty="0" smtClean="0"/>
              <a:t>) compile without errors. Otherwise the script will terminate in that particular step which is annoying.</a:t>
            </a:r>
          </a:p>
          <a:p>
            <a:r>
              <a:rPr lang="en-US" sz="1600" dirty="0" smtClean="0"/>
              <a:t>The ECU </a:t>
            </a:r>
            <a:r>
              <a:rPr lang="en-US" sz="1600" dirty="0" err="1" smtClean="0"/>
              <a:t>evmhil</a:t>
            </a:r>
            <a:r>
              <a:rPr lang="en-US" sz="1600" dirty="0" smtClean="0"/>
              <a:t> targets were built before the script is started. This is needed for collecting ram/</a:t>
            </a:r>
            <a:r>
              <a:rPr lang="en-US" sz="1600" dirty="0" err="1" smtClean="0"/>
              <a:t>rom</a:t>
            </a:r>
            <a:r>
              <a:rPr lang="en-US" sz="1600" dirty="0" smtClean="0"/>
              <a:t> usages.</a:t>
            </a:r>
          </a:p>
          <a:p>
            <a:r>
              <a:rPr lang="en-US" sz="1600" dirty="0" smtClean="0"/>
              <a:t>Configuration of the dynamic </a:t>
            </a:r>
            <a:r>
              <a:rPr lang="en-US" sz="1600" dirty="0" smtClean="0"/>
              <a:t>part in “</a:t>
            </a:r>
            <a:r>
              <a:rPr lang="en-US" sz="1600" dirty="0" err="1" smtClean="0"/>
              <a:t>autorelease</a:t>
            </a:r>
            <a:r>
              <a:rPr lang="en-US" sz="1600" dirty="0" smtClean="0"/>
              <a:t>/</a:t>
            </a:r>
            <a:r>
              <a:rPr lang="en-US" sz="1600" dirty="0" err="1" smtClean="0"/>
              <a:t>autorel_handover.scfg</a:t>
            </a:r>
            <a:r>
              <a:rPr lang="en-US" sz="1600" dirty="0" smtClean="0"/>
              <a:t>” </a:t>
            </a:r>
            <a:r>
              <a:rPr lang="en-US" sz="1600" dirty="0" smtClean="0"/>
              <a:t>is set and </a:t>
            </a:r>
            <a:r>
              <a:rPr lang="en-US" sz="1600" dirty="0" smtClean="0"/>
              <a:t>checked in. The AutoRelease configuration must be part of the generated checkpoint. The consistency check will fail if the configuration is not checked in! See also </a:t>
            </a:r>
            <a:r>
              <a:rPr lang="en-US" sz="1600" dirty="0" smtClean="0">
                <a:latin typeface="Courier New" pitchFamily="49" charset="0"/>
                <a:cs typeface="Courier New" pitchFamily="49" charset="0"/>
                <a:hlinkClick r:id="rId11" action="ppaction://hlinkfile"/>
              </a:rPr>
              <a:t>SCons_auto_release_integration.docx</a:t>
            </a:r>
            <a:r>
              <a:rPr lang="en-US" sz="1600" dirty="0" smtClean="0"/>
              <a:t> (chapter 3) and the brief documentation in the configuration file for further information.</a:t>
            </a:r>
          </a:p>
        </p:txBody>
      </p:sp>
      <p:sp>
        <p:nvSpPr>
          <p:cNvPr id="13" name="Rechteck 12"/>
          <p:cNvSpPr/>
          <p:nvPr>
            <p:custDataLst>
              <p:tags r:id="rId7"/>
            </p:custDataLst>
          </p:nvPr>
        </p:nvSpPr>
        <p:spPr bwMode="auto">
          <a:xfrm>
            <a:off x="616360" y="1409080"/>
            <a:ext cx="7911281" cy="363736"/>
          </a:xfrm>
          <a:prstGeom prst="rect">
            <a:avLst/>
          </a:prstGeom>
          <a:solidFill>
            <a:srgbClr val="69768D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000" tIns="46800" rIns="90000" bIns="46800" anchor="ctr"/>
          <a:lstStyle/>
          <a:p>
            <a:pPr eaLnBrk="0" hangingPunct="0">
              <a:spcAft>
                <a:spcPct val="0"/>
              </a:spcAft>
            </a:pPr>
            <a:r>
              <a:rPr lang="de-DE" sz="24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Minimum </a:t>
            </a:r>
            <a:r>
              <a:rPr lang="de-DE" sz="2400" dirty="0" err="1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Pre-Conditions</a:t>
            </a:r>
            <a:endParaRPr lang="en-AU" sz="2400" dirty="0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8658" name="think-cell Slide" r:id="rId9" imgW="360" imgH="36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475656" y="3175"/>
            <a:ext cx="7344816" cy="762691"/>
          </a:xfrm>
        </p:spPr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Execution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November 17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8" name="Rectangle 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16360" y="1196753"/>
            <a:ext cx="7931225" cy="504056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>
              <a:buNone/>
            </a:pPr>
            <a:r>
              <a:rPr lang="en-US" sz="1600" dirty="0" smtClean="0"/>
              <a:t>Start the script (“</a:t>
            </a:r>
            <a:r>
              <a:rPr lang="en-US" sz="1600" dirty="0" err="1" smtClean="0"/>
              <a:t>scons</a:t>
            </a:r>
            <a:r>
              <a:rPr lang="en-US" sz="1600" dirty="0" smtClean="0"/>
              <a:t> </a:t>
            </a:r>
            <a:r>
              <a:rPr lang="en-US" sz="1600" dirty="0" err="1" smtClean="0"/>
              <a:t>autorel</a:t>
            </a:r>
            <a:r>
              <a:rPr lang="en-US" sz="1600" dirty="0" smtClean="0"/>
              <a:t>”) and follow the instructions…</a:t>
            </a:r>
          </a:p>
        </p:txBody>
      </p:sp>
      <p:pic>
        <p:nvPicPr>
          <p:cNvPr id="198659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85319" y="2024844"/>
            <a:ext cx="8263145" cy="4248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9682" name="think-cell Slide" r:id="rId9" imgW="360" imgH="36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</a:t>
            </a:r>
            <a:r>
              <a:rPr lang="en-US" dirty="0">
                <a:latin typeface="Arial" pitchFamily="34" charset="0"/>
                <a:cs typeface="Arial" pitchFamily="34" charset="0"/>
              </a:rPr>
              <a:t>Execution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November 17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199683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76064" y="3041875"/>
            <a:ext cx="7992380" cy="3411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16360" y="1088740"/>
            <a:ext cx="7931225" cy="1821407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BFCA00">
                <a:alpha val="40000"/>
              </a:srgbClr>
            </a:outerShdw>
          </a:effectLst>
        </p:spPr>
        <p:txBody>
          <a:bodyPr vert="horz" wrap="square" lIns="90000" tIns="36000" rIns="90000" bIns="4680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182563" indent="-182563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631825" algn="l"/>
                <a:tab pos="981075" algn="l"/>
              </a:tabLst>
              <a:defRPr b="0"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  <a:lvl2pPr marL="203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2pPr>
            <a:lvl3pPr marL="406400" lvl="2" indent="-203200" fontAlgn="base">
              <a:spcBef>
                <a:spcPts val="300"/>
              </a:spcBef>
              <a:spcAft>
                <a:spcPts val="0"/>
              </a:spcAft>
              <a:buClr>
                <a:srgbClr val="BFCA00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>
                <a:solidFill>
                  <a:srgbClr val="003A74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defRPr>
            </a:lvl3pPr>
            <a:lvl4pPr marL="609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4pPr>
            <a:lvl5pPr marL="8128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5pPr>
            <a:lvl6pPr marL="12700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6pPr>
            <a:lvl7pPr marL="17272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7pPr>
            <a:lvl8pPr marL="21844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8pPr>
            <a:lvl9pPr marL="2641600" indent="-203200" fontAlgn="base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/>
            </a:lvl9pPr>
          </a:lstStyle>
          <a:p>
            <a:pPr>
              <a:buNone/>
            </a:pPr>
            <a:r>
              <a:rPr lang="en-US" sz="1600" dirty="0" smtClean="0"/>
              <a:t>There is a point (after compilation), when the script execution is interrupted for tests. </a:t>
            </a:r>
          </a:p>
          <a:p>
            <a:pPr>
              <a:buNone/>
            </a:pPr>
            <a:r>
              <a:rPr lang="en-US" sz="1600" dirty="0" smtClean="0"/>
              <a:t>This is intended to be used for…</a:t>
            </a:r>
          </a:p>
          <a:p>
            <a:pPr>
              <a:buNone/>
            </a:pPr>
            <a:endParaRPr lang="en-US" sz="1600" dirty="0" smtClean="0"/>
          </a:p>
          <a:p>
            <a:r>
              <a:rPr lang="en-US" sz="1600" dirty="0" smtClean="0"/>
              <a:t>EVM tests</a:t>
            </a:r>
          </a:p>
          <a:p>
            <a:r>
              <a:rPr lang="en-US" sz="1600" dirty="0" smtClean="0"/>
              <a:t>determine runtime/stack usage information</a:t>
            </a:r>
          </a:p>
          <a:p>
            <a:r>
              <a:rPr lang="en-US" sz="1600" dirty="0" smtClean="0"/>
              <a:t>etc.</a:t>
            </a:r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0706" name="think-cell Slide" r:id="rId8" imgW="360" imgH="36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Code Handover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November 17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689914" y="1160748"/>
            <a:ext cx="777051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The code handover document is a text format file and opens in the operating systems default text editor.</a:t>
            </a:r>
          </a:p>
          <a:p>
            <a:endParaRPr lang="en-US" sz="1400" dirty="0" smtClean="0">
              <a:solidFill>
                <a:srgbClr val="003A74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All the information collected by the script are included. However, there are some places in the document that couldn’t filled by the script. These places are marked by “&lt;…&gt;” and </a:t>
            </a:r>
            <a:r>
              <a:rPr lang="en-US" sz="1400" b="1" u="sng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all of them</a:t>
            </a:r>
            <a:r>
              <a:rPr lang="en-US" sz="1400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 have to be filled, otherwise the script will not accept the code handover document for creating a checkpoint.</a:t>
            </a:r>
          </a:p>
        </p:txBody>
      </p:sp>
      <p:pic>
        <p:nvPicPr>
          <p:cNvPr id="200707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08510" y="2888940"/>
            <a:ext cx="7959934" cy="358091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2" name="Ellipse 11"/>
          <p:cNvSpPr/>
          <p:nvPr/>
        </p:nvSpPr>
        <p:spPr>
          <a:xfrm>
            <a:off x="2555776" y="3913567"/>
            <a:ext cx="568424" cy="180020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Ellipse 12"/>
          <p:cNvSpPr/>
          <p:nvPr/>
        </p:nvSpPr>
        <p:spPr>
          <a:xfrm>
            <a:off x="2599420" y="4057583"/>
            <a:ext cx="568424" cy="180020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Ellipse 19"/>
          <p:cNvSpPr/>
          <p:nvPr/>
        </p:nvSpPr>
        <p:spPr>
          <a:xfrm>
            <a:off x="3419872" y="5137703"/>
            <a:ext cx="568424" cy="180020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Ellipse 20"/>
          <p:cNvSpPr/>
          <p:nvPr/>
        </p:nvSpPr>
        <p:spPr>
          <a:xfrm>
            <a:off x="907232" y="6073807"/>
            <a:ext cx="568424" cy="180020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5153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2754" name="think-cell Slide" r:id="rId8" imgW="360" imgH="360" progId="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utoRelease Code Handover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323528" y="6557542"/>
            <a:ext cx="2133600" cy="365125"/>
          </a:xfrm>
        </p:spPr>
        <p:txBody>
          <a:bodyPr/>
          <a:lstStyle/>
          <a:p>
            <a:fld id="{378DC074-9FE9-4799-9D02-6C3E142DD049}" type="datetime4">
              <a:rPr lang="en-US" smtClean="0"/>
              <a:pPr/>
              <a:t>November 17, 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557542"/>
            <a:ext cx="2895600" cy="365125"/>
          </a:xfrm>
        </p:spPr>
        <p:txBody>
          <a:bodyPr/>
          <a:lstStyle/>
          <a:p>
            <a:r>
              <a:rPr lang="de-DE" dirty="0" smtClean="0"/>
              <a:t>© ITK Engineeri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661164" y="6557542"/>
            <a:ext cx="2133600" cy="365125"/>
          </a:xfrm>
        </p:spPr>
        <p:txBody>
          <a:bodyPr/>
          <a:lstStyle/>
          <a:p>
            <a:fld id="{54C49D4F-05A1-43D6-BA1B-62865A4310A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323528" y="1160748"/>
            <a:ext cx="84540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003A74"/>
                </a:solidFill>
                <a:latin typeface="Arial" pitchFamily="34" charset="0"/>
                <a:cs typeface="Arial" pitchFamily="34" charset="0"/>
              </a:rPr>
              <a:t>Please respect the editing conventions (rules) at the top of the code handover document!</a:t>
            </a:r>
          </a:p>
        </p:txBody>
      </p:sp>
      <p:pic>
        <p:nvPicPr>
          <p:cNvPr id="202758" name="Picture 6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00038" y="1824038"/>
            <a:ext cx="8542337" cy="32099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95089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5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NtN7iU10uyvh2eTj383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0Jg7lcGDyEWNMLtv09qU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azHRFf.k2Twh6mEaqn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x5x.uzdIkaebLSkb.uJ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s4yAH1k.mMt44PUVM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Z8yjgFW02a59BzPAceFA"/>
</p:tagLst>
</file>

<file path=ppt/theme/theme1.xml><?xml version="1.0" encoding="utf-8"?>
<a:theme xmlns:a="http://schemas.openxmlformats.org/drawingml/2006/main" name="ITK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nanke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C0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prstDash val="sysDash"/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C101859862[[fn=Urban Pop]]</Template>
  <TotalTime>0</TotalTime>
  <Words>842</Words>
  <Application>Microsoft Office PowerPoint</Application>
  <PresentationFormat>Bildschirmpräsentation (4:3)</PresentationFormat>
  <Paragraphs>185</Paragraphs>
  <Slides>13</Slides>
  <Notes>12</Notes>
  <HiddenSlides>0</HiddenSlides>
  <MMClips>0</MMClips>
  <ScaleCrop>false</ScaleCrop>
  <HeadingPairs>
    <vt:vector size="8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  <vt:variant>
        <vt:lpstr>Zielgruppenorientierte Präsentationen</vt:lpstr>
      </vt:variant>
      <vt:variant>
        <vt:i4>1</vt:i4>
      </vt:variant>
    </vt:vector>
  </HeadingPairs>
  <TitlesOfParts>
    <vt:vector size="16" baseType="lpstr">
      <vt:lpstr>ITK</vt:lpstr>
      <vt:lpstr>think-cell Slide</vt:lpstr>
      <vt:lpstr>ITK Engineering</vt:lpstr>
      <vt:lpstr>AutoRelease Rollout 1</vt:lpstr>
      <vt:lpstr>AutoRelease Rollout 2</vt:lpstr>
      <vt:lpstr>AutoRelease Rollout 3</vt:lpstr>
      <vt:lpstr>AutoRelease Overview</vt:lpstr>
      <vt:lpstr>AutoRelease Execution</vt:lpstr>
      <vt:lpstr>AutoRelease Execution</vt:lpstr>
      <vt:lpstr>AutoRelease Code Handover</vt:lpstr>
      <vt:lpstr>AutoRelease Code Handover</vt:lpstr>
      <vt:lpstr>AutoRelease Code Handover</vt:lpstr>
      <vt:lpstr>AutoRelease Checkpoint</vt:lpstr>
      <vt:lpstr>AutoRelease Return Code</vt:lpstr>
      <vt:lpstr>AutoRelease Return Code</vt:lpstr>
      <vt:lpstr>ITK_Kurzpräsentation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ianca Kuhn</dc:creator>
  <cp:lastModifiedBy>uidw1169</cp:lastModifiedBy>
  <cp:revision>515</cp:revision>
  <cp:lastPrinted>2012-10-31T14:55:07Z</cp:lastPrinted>
  <dcterms:created xsi:type="dcterms:W3CDTF">2012-08-17T07:37:34Z</dcterms:created>
  <dcterms:modified xsi:type="dcterms:W3CDTF">2014-11-17T13:06:13Z</dcterms:modified>
</cp:coreProperties>
</file>